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1"/>
  </p:sldMasterIdLst>
  <p:sldIdLst>
    <p:sldId id="258" r:id="rId2"/>
    <p:sldId id="260" r:id="rId3"/>
    <p:sldId id="261" r:id="rId4"/>
    <p:sldId id="264" r:id="rId5"/>
    <p:sldId id="263" r:id="rId6"/>
    <p:sldId id="257" r:id="rId7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047">
          <p15:clr>
            <a:srgbClr val="A4A3A4"/>
          </p15:clr>
        </p15:guide>
        <p15:guide id="12" orient="horz" pos="1593">
          <p15:clr>
            <a:srgbClr val="A4A3A4"/>
          </p15:clr>
        </p15:guide>
        <p15:guide id="13" orient="horz" pos="2568">
          <p15:clr>
            <a:srgbClr val="A4A3A4"/>
          </p15:clr>
        </p15:guide>
        <p15:guide id="14" orient="horz" pos="3072">
          <p15:clr>
            <a:srgbClr val="A4A3A4"/>
          </p15:clr>
        </p15:guide>
        <p15:guide id="15" orient="horz" pos="3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0FF95-60A4-4D9A-A223-7BDF43889D65}" v="105" dt="2022-05-11T15:34:52.4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>
      <p:cViewPr>
        <p:scale>
          <a:sx n="100" d="100"/>
          <a:sy n="100" d="100"/>
        </p:scale>
        <p:origin x="114" y="306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ornsson, Jóhann Bjorn" userId="3324117d-b910-41f3-b11d-6944a01262fa" providerId="ADAL" clId="{4680FF95-60A4-4D9A-A223-7BDF43889D65}"/>
    <pc:docChg chg="undo custSel addSld delSld modSld modMainMaster">
      <pc:chgData name="Bjornsson, Jóhann Bjorn" userId="3324117d-b910-41f3-b11d-6944a01262fa" providerId="ADAL" clId="{4680FF95-60A4-4D9A-A223-7BDF43889D65}" dt="2022-05-11T15:58:29.047" v="595" actId="478"/>
      <pc:docMkLst>
        <pc:docMk/>
      </pc:docMkLst>
      <pc:sldChg chg="delSp modSp mod modTransition">
        <pc:chgData name="Bjornsson, Jóhann Bjorn" userId="3324117d-b910-41f3-b11d-6944a01262fa" providerId="ADAL" clId="{4680FF95-60A4-4D9A-A223-7BDF43889D65}" dt="2022-05-11T15:58:29.047" v="595" actId="478"/>
        <pc:sldMkLst>
          <pc:docMk/>
          <pc:sldMk cId="2128354429" sldId="257"/>
        </pc:sldMkLst>
        <pc:spChg chg="del">
          <ac:chgData name="Bjornsson, Jóhann Bjorn" userId="3324117d-b910-41f3-b11d-6944a01262fa" providerId="ADAL" clId="{4680FF95-60A4-4D9A-A223-7BDF43889D65}" dt="2022-05-11T15:58:24.767" v="594" actId="478"/>
          <ac:spMkLst>
            <pc:docMk/>
            <pc:sldMk cId="2128354429" sldId="257"/>
            <ac:spMk id="60" creationId="{7FD3C517-45C4-49FB-B6D4-788084D9DC00}"/>
          </ac:spMkLst>
        </pc:spChg>
        <pc:spChg chg="mod">
          <ac:chgData name="Bjornsson, Jóhann Bjorn" userId="3324117d-b910-41f3-b11d-6944a01262fa" providerId="ADAL" clId="{4680FF95-60A4-4D9A-A223-7BDF43889D65}" dt="2022-05-11T15:57:42.532" v="593" actId="1076"/>
          <ac:spMkLst>
            <pc:docMk/>
            <pc:sldMk cId="2128354429" sldId="257"/>
            <ac:spMk id="63" creationId="{8DD5A159-BAE5-4641-9102-AB3570BF7945}"/>
          </ac:spMkLst>
        </pc:spChg>
        <pc:grpChg chg="del">
          <ac:chgData name="Bjornsson, Jóhann Bjorn" userId="3324117d-b910-41f3-b11d-6944a01262fa" providerId="ADAL" clId="{4680FF95-60A4-4D9A-A223-7BDF43889D65}" dt="2022-05-11T15:58:29.047" v="595" actId="478"/>
          <ac:grpSpMkLst>
            <pc:docMk/>
            <pc:sldMk cId="2128354429" sldId="257"/>
            <ac:grpSpMk id="61" creationId="{C6189E82-0FD1-47D7-BF0F-E74E32F66DB1}"/>
          </ac:grpSpMkLst>
        </pc:grpChg>
        <pc:cxnChg chg="mod">
          <ac:chgData name="Bjornsson, Jóhann Bjorn" userId="3324117d-b910-41f3-b11d-6944a01262fa" providerId="ADAL" clId="{4680FF95-60A4-4D9A-A223-7BDF43889D65}" dt="2022-05-11T15:58:29.047" v="595" actId="478"/>
          <ac:cxnSpMkLst>
            <pc:docMk/>
            <pc:sldMk cId="2128354429" sldId="257"/>
            <ac:cxnSpMk id="62" creationId="{F119ECF8-35A4-4AC7-85EB-9EF3C84CC7FF}"/>
          </ac:cxnSpMkLst>
        </pc:cxnChg>
      </pc:sldChg>
      <pc:sldChg chg="addSp delSp modSp new mod modTransition modClrScheme chgLayout">
        <pc:chgData name="Bjornsson, Jóhann Bjorn" userId="3324117d-b910-41f3-b11d-6944a01262fa" providerId="ADAL" clId="{4680FF95-60A4-4D9A-A223-7BDF43889D65}" dt="2022-05-11T15:15:49.908" v="373"/>
        <pc:sldMkLst>
          <pc:docMk/>
          <pc:sldMk cId="2093570773" sldId="258"/>
        </pc:sldMkLst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2" creationId="{F932A1CA-567B-4E95-B626-60A897D3CB10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3" creationId="{75F22303-98AC-4901-B8BD-B1176EBFDCEF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4" creationId="{2F4F39CC-4085-495E-8EE7-6C7A6324F293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5" creationId="{06871633-3B91-4EA2-9562-3169DD630533}"/>
          </ac:spMkLst>
        </pc:spChg>
        <pc:spChg chg="add mod ord">
          <ac:chgData name="Bjornsson, Jóhann Bjorn" userId="3324117d-b910-41f3-b11d-6944a01262fa" providerId="ADAL" clId="{4680FF95-60A4-4D9A-A223-7BDF43889D65}" dt="2022-05-11T14:41:41.736" v="137" actId="20577"/>
          <ac:spMkLst>
            <pc:docMk/>
            <pc:sldMk cId="2093570773" sldId="258"/>
            <ac:spMk id="6" creationId="{1E1F3D28-58E3-44EC-9540-D7E62EF8F0BC}"/>
          </ac:spMkLst>
        </pc:spChg>
        <pc:spChg chg="add mod ord">
          <ac:chgData name="Bjornsson, Jóhann Bjorn" userId="3324117d-b910-41f3-b11d-6944a01262fa" providerId="ADAL" clId="{4680FF95-60A4-4D9A-A223-7BDF43889D65}" dt="2022-05-11T14:41:52.134" v="156" actId="20577"/>
          <ac:spMkLst>
            <pc:docMk/>
            <pc:sldMk cId="2093570773" sldId="258"/>
            <ac:spMk id="7" creationId="{2CDE937F-5BC7-42FC-8ACC-F52970D1C434}"/>
          </ac:spMkLst>
        </pc:spChg>
        <pc:spChg chg="add del mod ord">
          <ac:chgData name="Bjornsson, Jóhann Bjorn" userId="3324117d-b910-41f3-b11d-6944a01262fa" providerId="ADAL" clId="{4680FF95-60A4-4D9A-A223-7BDF43889D65}" dt="2022-05-11T14:41:30.336" v="63" actId="478"/>
          <ac:spMkLst>
            <pc:docMk/>
            <pc:sldMk cId="2093570773" sldId="258"/>
            <ac:spMk id="8" creationId="{14361D83-6797-4DA6-A2BC-242231EC4CAD}"/>
          </ac:spMkLst>
        </pc:spChg>
        <pc:spChg chg="add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9" creationId="{67B1AEB7-C3EE-4F9C-8F50-F36029BE1848}"/>
          </ac:spMkLst>
        </pc:spChg>
        <pc:spChg chg="add del mod ord">
          <ac:chgData name="Bjornsson, Jóhann Bjorn" userId="3324117d-b910-41f3-b11d-6944a01262fa" providerId="ADAL" clId="{4680FF95-60A4-4D9A-A223-7BDF43889D65}" dt="2022-05-11T14:41:23.554" v="62"/>
          <ac:spMkLst>
            <pc:docMk/>
            <pc:sldMk cId="2093570773" sldId="258"/>
            <ac:spMk id="14" creationId="{056C12E1-849F-4C4B-982B-0C3EC7C25DBB}"/>
          </ac:spMkLst>
        </pc:spChg>
        <pc:picChg chg="add del mod">
          <ac:chgData name="Bjornsson, Jóhann Bjorn" userId="3324117d-b910-41f3-b11d-6944a01262fa" providerId="ADAL" clId="{4680FF95-60A4-4D9A-A223-7BDF43889D65}" dt="2022-05-11T14:40:49.477" v="16"/>
          <ac:picMkLst>
            <pc:docMk/>
            <pc:sldMk cId="2093570773" sldId="258"/>
            <ac:picMk id="11" creationId="{28F51752-C576-40BB-A457-851F6E32C8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23.554" v="62"/>
          <ac:picMkLst>
            <pc:docMk/>
            <pc:sldMk cId="2093570773" sldId="258"/>
            <ac:picMk id="13" creationId="{0C8CB8C5-2641-4466-A29E-855A47B7D0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32.813" v="101"/>
          <ac:picMkLst>
            <pc:docMk/>
            <pc:sldMk cId="2093570773" sldId="258"/>
            <ac:picMk id="16" creationId="{0FFFF723-B584-4599-9F08-77F4AE7F7A57}"/>
          </ac:picMkLst>
        </pc:picChg>
        <pc:picChg chg="add mod">
          <ac:chgData name="Bjornsson, Jóhann Bjorn" userId="3324117d-b910-41f3-b11d-6944a01262fa" providerId="ADAL" clId="{4680FF95-60A4-4D9A-A223-7BDF43889D65}" dt="2022-05-11T14:41:32.817" v="105" actId="18654"/>
          <ac:picMkLst>
            <pc:docMk/>
            <pc:sldMk cId="2093570773" sldId="258"/>
            <ac:picMk id="18" creationId="{0C02B024-D8F7-495F-B746-405967E93D04}"/>
          </ac:picMkLst>
        </pc:picChg>
      </pc:sldChg>
      <pc:sldChg chg="addSp delSp modSp new del mod modClrScheme chgLayout">
        <pc:chgData name="Bjornsson, Jóhann Bjorn" userId="3324117d-b910-41f3-b11d-6944a01262fa" providerId="ADAL" clId="{4680FF95-60A4-4D9A-A223-7BDF43889D65}" dt="2022-05-11T14:58:08.764" v="330" actId="47"/>
        <pc:sldMkLst>
          <pc:docMk/>
          <pc:sldMk cId="1607959216" sldId="259"/>
        </pc:sldMkLst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2" creationId="{8ECB6DC4-ED3B-45C8-AC91-B7333C1D687A}"/>
          </ac:spMkLst>
        </pc:spChg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3" creationId="{A8054F5A-AAC6-4AA6-B3AB-9E2F2C5F63B2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4" creationId="{72303F12-A357-4EE0-A0CF-2F9DD74F97B6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5" creationId="{BA1BAE2B-DC3B-4451-B8BF-7065A37071C8}"/>
          </ac:spMkLst>
        </pc:spChg>
        <pc:spChg chg="add mod ord">
          <ac:chgData name="Bjornsson, Jóhann Bjorn" userId="3324117d-b910-41f3-b11d-6944a01262fa" providerId="ADAL" clId="{4680FF95-60A4-4D9A-A223-7BDF43889D65}" dt="2022-05-11T14:54:28.061" v="323" actId="20577"/>
          <ac:spMkLst>
            <pc:docMk/>
            <pc:sldMk cId="1607959216" sldId="259"/>
            <ac:spMk id="6" creationId="{991C4C60-D549-4836-B4EA-770904367F52}"/>
          </ac:spMkLst>
        </pc:spChg>
        <pc:spChg chg="add del mod ord">
          <ac:chgData name="Bjornsson, Jóhann Bjorn" userId="3324117d-b910-41f3-b11d-6944a01262fa" providerId="ADAL" clId="{4680FF95-60A4-4D9A-A223-7BDF43889D65}" dt="2022-05-11T14:48:24.206" v="235" actId="478"/>
          <ac:spMkLst>
            <pc:docMk/>
            <pc:sldMk cId="1607959216" sldId="259"/>
            <ac:spMk id="7" creationId="{3EF9BBE9-30E4-4A38-8871-1EE12AF4A468}"/>
          </ac:spMkLst>
        </pc:spChg>
        <pc:spChg chg="add del mod">
          <ac:chgData name="Bjornsson, Jóhann Bjorn" userId="3324117d-b910-41f3-b11d-6944a01262fa" providerId="ADAL" clId="{4680FF95-60A4-4D9A-A223-7BDF43889D65}" dt="2022-05-11T14:49:01.740" v="239" actId="478"/>
          <ac:spMkLst>
            <pc:docMk/>
            <pc:sldMk cId="1607959216" sldId="259"/>
            <ac:spMk id="13" creationId="{932F8ACD-1A2F-48C1-97FC-57FA8B6B365F}"/>
          </ac:spMkLst>
        </pc:spChg>
        <pc:spChg chg="add mod">
          <ac:chgData name="Bjornsson, Jóhann Bjorn" userId="3324117d-b910-41f3-b11d-6944a01262fa" providerId="ADAL" clId="{4680FF95-60A4-4D9A-A223-7BDF43889D65}" dt="2022-05-11T14:49:52.791" v="247" actId="408"/>
          <ac:spMkLst>
            <pc:docMk/>
            <pc:sldMk cId="1607959216" sldId="259"/>
            <ac:spMk id="16" creationId="{DC38A1FE-9193-48F3-980D-C7570E0226BE}"/>
          </ac:spMkLst>
        </pc:spChg>
        <pc:picChg chg="add del mod">
          <ac:chgData name="Bjornsson, Jóhann Bjorn" userId="3324117d-b910-41f3-b11d-6944a01262fa" providerId="ADAL" clId="{4680FF95-60A4-4D9A-A223-7BDF43889D65}" dt="2022-05-11T14:48:18.658" v="232" actId="478"/>
          <ac:picMkLst>
            <pc:docMk/>
            <pc:sldMk cId="1607959216" sldId="259"/>
            <ac:picMk id="9" creationId="{BC45C5F0-217B-4F78-AA97-671C5FD2C141}"/>
          </ac:picMkLst>
        </pc:picChg>
        <pc:picChg chg="add mod">
          <ac:chgData name="Bjornsson, Jóhann Bjorn" userId="3324117d-b910-41f3-b11d-6944a01262fa" providerId="ADAL" clId="{4680FF95-60A4-4D9A-A223-7BDF43889D65}" dt="2022-05-11T14:49:48.659" v="246" actId="12788"/>
          <ac:picMkLst>
            <pc:docMk/>
            <pc:sldMk cId="1607959216" sldId="259"/>
            <ac:picMk id="11" creationId="{CCECAC6C-27D9-4725-BCF7-9FA166726083}"/>
          </ac:picMkLst>
        </pc:picChg>
        <pc:picChg chg="add del mod">
          <ac:chgData name="Bjornsson, Jóhann Bjorn" userId="3324117d-b910-41f3-b11d-6944a01262fa" providerId="ADAL" clId="{4680FF95-60A4-4D9A-A223-7BDF43889D65}" dt="2022-05-11T14:53:51.673" v="297" actId="478"/>
          <ac:picMkLst>
            <pc:docMk/>
            <pc:sldMk cId="1607959216" sldId="259"/>
            <ac:picMk id="15" creationId="{F5867EA1-F089-4123-A4F0-DC5A2B2B09F3}"/>
          </ac:picMkLst>
        </pc:picChg>
        <pc:picChg chg="add mod">
          <ac:chgData name="Bjornsson, Jóhann Bjorn" userId="3324117d-b910-41f3-b11d-6944a01262fa" providerId="ADAL" clId="{4680FF95-60A4-4D9A-A223-7BDF43889D65}" dt="2022-05-11T14:53:56.347" v="299" actId="1076"/>
          <ac:picMkLst>
            <pc:docMk/>
            <pc:sldMk cId="1607959216" sldId="259"/>
            <ac:picMk id="18" creationId="{7F2F2678-3EA7-4838-ADF1-30611A4EE174}"/>
          </ac:picMkLst>
        </pc:picChg>
      </pc:sldChg>
      <pc:sldChg chg="addSp delSp modSp add mod modTransition modAnim">
        <pc:chgData name="Bjornsson, Jóhann Bjorn" userId="3324117d-b910-41f3-b11d-6944a01262fa" providerId="ADAL" clId="{4680FF95-60A4-4D9A-A223-7BDF43889D65}" dt="2022-05-11T15:15:50.076" v="374"/>
        <pc:sldMkLst>
          <pc:docMk/>
          <pc:sldMk cId="2948531841" sldId="260"/>
        </pc:sldMkLst>
        <pc:spChg chg="del">
          <ac:chgData name="Bjornsson, Jóhann Bjorn" userId="3324117d-b910-41f3-b11d-6944a01262fa" providerId="ADAL" clId="{4680FF95-60A4-4D9A-A223-7BDF43889D65}" dt="2022-05-11T15:08:58.236" v="350" actId="478"/>
          <ac:spMkLst>
            <pc:docMk/>
            <pc:sldMk cId="2948531841" sldId="260"/>
            <ac:spMk id="16" creationId="{DC38A1FE-9193-48F3-980D-C7570E0226BE}"/>
          </ac:spMkLst>
        </pc:spChg>
        <pc:picChg chg="add del mod modCrop">
          <ac:chgData name="Bjornsson, Jóhann Bjorn" userId="3324117d-b910-41f3-b11d-6944a01262fa" providerId="ADAL" clId="{4680FF95-60A4-4D9A-A223-7BDF43889D65}" dt="2022-05-11T15:08:56.595" v="349" actId="478"/>
          <ac:picMkLst>
            <pc:docMk/>
            <pc:sldMk cId="2948531841" sldId="260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09:11.061" v="351" actId="1076"/>
          <ac:picMkLst>
            <pc:docMk/>
            <pc:sldMk cId="2948531841" sldId="260"/>
            <ac:picMk id="11" creationId="{CCECAC6C-27D9-4725-BCF7-9FA166726083}"/>
          </ac:picMkLst>
        </pc:picChg>
        <pc:picChg chg="del">
          <ac:chgData name="Bjornsson, Jóhann Bjorn" userId="3324117d-b910-41f3-b11d-6944a01262fa" providerId="ADAL" clId="{4680FF95-60A4-4D9A-A223-7BDF43889D65}" dt="2022-05-11T14:57:29.574" v="325" actId="478"/>
          <ac:picMkLst>
            <pc:docMk/>
            <pc:sldMk cId="2948531841" sldId="260"/>
            <ac:picMk id="18" creationId="{7F2F2678-3EA7-4838-ADF1-30611A4EE174}"/>
          </ac:picMkLst>
        </pc:picChg>
      </pc:sldChg>
      <pc:sldChg chg="addSp delSp modSp add mod modTransition">
        <pc:chgData name="Bjornsson, Jóhann Bjorn" userId="3324117d-b910-41f3-b11d-6944a01262fa" providerId="ADAL" clId="{4680FF95-60A4-4D9A-A223-7BDF43889D65}" dt="2022-05-11T15:39:08.395" v="592" actId="1076"/>
        <pc:sldMkLst>
          <pc:docMk/>
          <pc:sldMk cId="4133261997" sldId="261"/>
        </pc:sldMkLst>
        <pc:picChg chg="mod modCrop">
          <ac:chgData name="Bjornsson, Jóhann Bjorn" userId="3324117d-b910-41f3-b11d-6944a01262fa" providerId="ADAL" clId="{4680FF95-60A4-4D9A-A223-7BDF43889D65}" dt="2022-05-11T15:39:08.395" v="592" actId="1076"/>
          <ac:picMkLst>
            <pc:docMk/>
            <pc:sldMk cId="4133261997" sldId="261"/>
            <ac:picMk id="3" creationId="{88720707-6D7B-4382-95CD-40E75001BCB4}"/>
          </ac:picMkLst>
        </pc:picChg>
        <pc:picChg chg="add del mod">
          <ac:chgData name="Bjornsson, Jóhann Bjorn" userId="3324117d-b910-41f3-b11d-6944a01262fa" providerId="ADAL" clId="{4680FF95-60A4-4D9A-A223-7BDF43889D65}" dt="2022-05-11T15:13:20.910" v="361" actId="478"/>
          <ac:picMkLst>
            <pc:docMk/>
            <pc:sldMk cId="4133261997" sldId="261"/>
            <ac:picMk id="4" creationId="{8FF929F3-BE97-47D5-A2FB-51EADF4EDA67}"/>
          </ac:picMkLst>
        </pc:picChg>
        <pc:picChg chg="add del mod">
          <ac:chgData name="Bjornsson, Jóhann Bjorn" userId="3324117d-b910-41f3-b11d-6944a01262fa" providerId="ADAL" clId="{4680FF95-60A4-4D9A-A223-7BDF43889D65}" dt="2022-05-11T15:15:55.566" v="377" actId="478"/>
          <ac:picMkLst>
            <pc:docMk/>
            <pc:sldMk cId="4133261997" sldId="261"/>
            <ac:picMk id="7" creationId="{78DFD3DB-6378-49B0-924A-0C588CD55223}"/>
          </ac:picMkLst>
        </pc:picChg>
      </pc:sldChg>
      <pc:sldChg chg="addSp delSp modSp add del mod modTransition">
        <pc:chgData name="Bjornsson, Jóhann Bjorn" userId="3324117d-b910-41f3-b11d-6944a01262fa" providerId="ADAL" clId="{4680FF95-60A4-4D9A-A223-7BDF43889D65}" dt="2022-05-11T15:38:32.605" v="588" actId="47"/>
        <pc:sldMkLst>
          <pc:docMk/>
          <pc:sldMk cId="3202567094" sldId="262"/>
        </pc:sldMkLst>
        <pc:spChg chg="add del mod">
          <ac:chgData name="Bjornsson, Jóhann Bjorn" userId="3324117d-b910-41f3-b11d-6944a01262fa" providerId="ADAL" clId="{4680FF95-60A4-4D9A-A223-7BDF43889D65}" dt="2022-05-11T15:33:45.302" v="474" actId="478"/>
          <ac:spMkLst>
            <pc:docMk/>
            <pc:sldMk cId="3202567094" sldId="262"/>
            <ac:spMk id="7" creationId="{1BECF8E8-D143-47BE-9BE6-AEB7C9426D72}"/>
          </ac:spMkLst>
        </pc:spChg>
        <pc:spChg chg="add mod">
          <ac:chgData name="Bjornsson, Jóhann Bjorn" userId="3324117d-b910-41f3-b11d-6944a01262fa" providerId="ADAL" clId="{4680FF95-60A4-4D9A-A223-7BDF43889D65}" dt="2022-05-11T15:38:17.543" v="585" actId="404"/>
          <ac:spMkLst>
            <pc:docMk/>
            <pc:sldMk cId="3202567094" sldId="262"/>
            <ac:spMk id="8" creationId="{C70C806A-9AB6-458C-A9B1-BB2813A45ED3}"/>
          </ac:spMkLst>
        </pc:spChg>
        <pc:spChg chg="mod">
          <ac:chgData name="Bjornsson, Jóhann Bjorn" userId="3324117d-b910-41f3-b11d-6944a01262fa" providerId="ADAL" clId="{4680FF95-60A4-4D9A-A223-7BDF43889D65}" dt="2022-05-11T15:38:16.351" v="579" actId="1076"/>
          <ac:spMkLst>
            <pc:docMk/>
            <pc:sldMk cId="3202567094" sldId="262"/>
            <ac:spMk id="16" creationId="{DC38A1FE-9193-48F3-980D-C7570E0226BE}"/>
          </ac:spMkLst>
        </pc:spChg>
        <pc:picChg chg="del">
          <ac:chgData name="Bjornsson, Jóhann Bjorn" userId="3324117d-b910-41f3-b11d-6944a01262fa" providerId="ADAL" clId="{4680FF95-60A4-4D9A-A223-7BDF43889D65}" dt="2022-05-11T15:33:41.997" v="472" actId="478"/>
          <ac:picMkLst>
            <pc:docMk/>
            <pc:sldMk cId="3202567094" sldId="262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38:16.202" v="578" actId="1076"/>
          <ac:picMkLst>
            <pc:docMk/>
            <pc:sldMk cId="3202567094" sldId="262"/>
            <ac:picMk id="11" creationId="{CCECAC6C-27D9-4725-BCF7-9FA166726083}"/>
          </ac:picMkLst>
        </pc:picChg>
      </pc:sldChg>
      <pc:sldChg chg="add">
        <pc:chgData name="Bjornsson, Jóhann Bjorn" userId="3324117d-b910-41f3-b11d-6944a01262fa" providerId="ADAL" clId="{4680FF95-60A4-4D9A-A223-7BDF43889D65}" dt="2022-05-11T15:15:52.342" v="376" actId="2890"/>
        <pc:sldMkLst>
          <pc:docMk/>
          <pc:sldMk cId="4148441264" sldId="263"/>
        </pc:sldMkLst>
      </pc:sldChg>
      <pc:sldChg chg="add">
        <pc:chgData name="Bjornsson, Jóhann Bjorn" userId="3324117d-b910-41f3-b11d-6944a01262fa" providerId="ADAL" clId="{4680FF95-60A4-4D9A-A223-7BDF43889D65}" dt="2022-05-11T15:38:43.840" v="590" actId="2890"/>
        <pc:sldMkLst>
          <pc:docMk/>
          <pc:sldMk cId="557562315" sldId="264"/>
        </pc:sldMkLst>
      </pc:sldChg>
      <pc:sldChg chg="addSp delSp modSp new del mod">
        <pc:chgData name="Bjornsson, Jóhann Bjorn" userId="3324117d-b910-41f3-b11d-6944a01262fa" providerId="ADAL" clId="{4680FF95-60A4-4D9A-A223-7BDF43889D65}" dt="2022-05-11T15:38:33.947" v="589" actId="47"/>
        <pc:sldMkLst>
          <pc:docMk/>
          <pc:sldMk cId="3303025527" sldId="264"/>
        </pc:sldMkLst>
        <pc:spChg chg="del">
          <ac:chgData name="Bjornsson, Jóhann Bjorn" userId="3324117d-b910-41f3-b11d-6944a01262fa" providerId="ADAL" clId="{4680FF95-60A4-4D9A-A223-7BDF43889D65}" dt="2022-05-11T15:21:22.189" v="379" actId="478"/>
          <ac:spMkLst>
            <pc:docMk/>
            <pc:sldMk cId="3303025527" sldId="264"/>
            <ac:spMk id="3" creationId="{D68A6A4A-65F8-46CE-A8AB-582EC6B05711}"/>
          </ac:spMkLst>
        </pc:spChg>
        <pc:spChg chg="add del">
          <ac:chgData name="Bjornsson, Jóhann Bjorn" userId="3324117d-b910-41f3-b11d-6944a01262fa" providerId="ADAL" clId="{4680FF95-60A4-4D9A-A223-7BDF43889D65}" dt="2022-05-11T15:21:57.714" v="381" actId="478"/>
          <ac:spMkLst>
            <pc:docMk/>
            <pc:sldMk cId="3303025527" sldId="264"/>
            <ac:spMk id="5" creationId="{EDF97518-C4C9-4F13-874B-D61E63CAB9D1}"/>
          </ac:spMkLst>
        </pc:spChg>
        <pc:spChg chg="add del mod">
          <ac:chgData name="Bjornsson, Jóhann Bjorn" userId="3324117d-b910-41f3-b11d-6944a01262fa" providerId="ADAL" clId="{4680FF95-60A4-4D9A-A223-7BDF43889D65}" dt="2022-05-11T15:31:46.250" v="424" actId="21"/>
          <ac:spMkLst>
            <pc:docMk/>
            <pc:sldMk cId="3303025527" sldId="264"/>
            <ac:spMk id="8" creationId="{C9E3B5E0-4BB9-4AE7-871B-C02E8569F391}"/>
          </ac:spMkLst>
        </pc:spChg>
        <pc:graphicFrameChg chg="add del mod">
          <ac:chgData name="Bjornsson, Jóhann Bjorn" userId="3324117d-b910-41f3-b11d-6944a01262fa" providerId="ADAL" clId="{4680FF95-60A4-4D9A-A223-7BDF43889D65}" dt="2022-05-11T15:22:12.677" v="386" actId="3680"/>
          <ac:graphicFrameMkLst>
            <pc:docMk/>
            <pc:sldMk cId="3303025527" sldId="264"/>
            <ac:graphicFrameMk id="6" creationId="{29172966-D50A-482A-9AD3-4CB89D6C6625}"/>
          </ac:graphicFrameMkLst>
        </pc:graphicFrameChg>
      </pc:sldChg>
      <pc:sldChg chg="add del">
        <pc:chgData name="Bjornsson, Jóhann Bjorn" userId="3324117d-b910-41f3-b11d-6944a01262fa" providerId="ADAL" clId="{4680FF95-60A4-4D9A-A223-7BDF43889D65}" dt="2022-05-11T15:38:15.413" v="575" actId="2890"/>
        <pc:sldMkLst>
          <pc:docMk/>
          <pc:sldMk cId="2022419502" sldId="265"/>
        </pc:sldMkLst>
      </pc:sldChg>
      <pc:sldChg chg="modSp add del mod">
        <pc:chgData name="Bjornsson, Jóhann Bjorn" userId="3324117d-b910-41f3-b11d-6944a01262fa" providerId="ADAL" clId="{4680FF95-60A4-4D9A-A223-7BDF43889D65}" dt="2022-05-11T15:38:11.463" v="563" actId="2890"/>
        <pc:sldMkLst>
          <pc:docMk/>
          <pc:sldMk cId="2302327150" sldId="266"/>
        </pc:sldMkLst>
        <pc:spChg chg="mod">
          <ac:chgData name="Bjornsson, Jóhann Bjorn" userId="3324117d-b910-41f3-b11d-6944a01262fa" providerId="ADAL" clId="{4680FF95-60A4-4D9A-A223-7BDF43889D65}" dt="2022-05-11T15:38:11.407" v="562" actId="20577"/>
          <ac:spMkLst>
            <pc:docMk/>
            <pc:sldMk cId="2302327150" sldId="266"/>
            <ac:spMk id="8" creationId="{C70C806A-9AB6-458C-A9B1-BB2813A45ED3}"/>
          </ac:spMkLst>
        </pc:spChg>
      </pc:sldChg>
      <pc:sldMasterChg chg="modTransition modSldLayout">
        <pc:chgData name="Bjornsson, Jóhann Bjorn" userId="3324117d-b910-41f3-b11d-6944a01262fa" providerId="ADAL" clId="{4680FF95-60A4-4D9A-A223-7BDF43889D65}" dt="2022-05-11T15:09:24.393" v="357"/>
        <pc:sldMasterMkLst>
          <pc:docMk/>
          <pc:sldMasterMk cId="2246303637" sldId="2147483757"/>
        </pc:sldMasterMkLst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72371442" sldId="21474837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936978992" sldId="21474837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09295223" sldId="214748375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54862098" sldId="214748375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651647788" sldId="214748376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907596974" sldId="214748376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28126015" sldId="214748376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75842785" sldId="214748376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071452732" sldId="214748376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124883574" sldId="214748376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4011592" sldId="214748376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66098166" sldId="214748376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209323641" sldId="214748377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64348261" sldId="214748377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84547591" sldId="214748377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396271539" sldId="214748377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78940449" sldId="214748377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95185929" sldId="214748377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506350091" sldId="214748377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77058815" sldId="214748377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42828032" sldId="214748377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3255577" sldId="214748377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513592431" sldId="214748378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48249979" sldId="214748378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036489793" sldId="214748378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85389897" sldId="214748378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55964178" sldId="214748378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7558190" sldId="214748378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686474036" sldId="214748378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94719728" sldId="214748378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691287324" sldId="214748379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873624590" sldId="214748379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777820381" sldId="214748379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409375295" sldId="214748379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96404764" sldId="214748380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56616124" sldId="214748380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61607157" sldId="214748380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63009763" sldId="214748380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092268540" sldId="214748380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0589089" sldId="214748380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46392547" sldId="21474838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21412863" sldId="21474838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6459590" sldId="2147483808"/>
          </pc:sldLayoutMkLst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0CD5AD-D83B-4104-ADE9-2534AD01D6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LAN_PSubtitle">
            <a:extLst>
              <a:ext uri="{FF2B5EF4-FFF2-40B4-BE49-F238E27FC236}">
                <a16:creationId xmlns:a16="http://schemas.microsoft.com/office/drawing/2014/main" id="{00CFBD48-9A05-44C7-B8EE-8D3E80D97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9FBE6-76D1-462D-85BF-5ACDBA4A9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458885-397C-4D8F-8C1C-CEDDD1BD255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6071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18C811-7445-40F8-A92C-7EEE057CA1F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3752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829301-969F-4D28-BD74-62414911C26A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05890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dark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801D67-DFA0-4B7F-A1E1-65D012D060B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30097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6DF263-C6E3-478D-9302-1D52DABFC3AC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t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fy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B6D00A-8D03-47C0-A0E6-03AABE618F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64047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76D297-AA34-4D97-B8EC-A21CA46713A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6161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83CF968-60D0-43F8-8E0C-BDB03EDEE3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LAN_PSubtitle">
            <a:extLst>
              <a:ext uri="{FF2B5EF4-FFF2-40B4-BE49-F238E27FC236}">
                <a16:creationId xmlns:a16="http://schemas.microsoft.com/office/drawing/2014/main" id="{52EC2E1A-735E-41E5-ADA4-DF37F068D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5C158E5-FB1A-4C9C-84E2-19E5DF32C4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5EE771B-BF78-4F07-9EA2-5E2E21677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56117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6555E0-81ED-41A3-87FD-183700C2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E362C59-2A72-4345-9C00-13ECDB5F0E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04BEDF-75F9-4614-9F13-BD085E12D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C6E6D87-0387-4B48-B14C-509474248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CC60B1-352B-4905-B7FB-AE2E57CCF98E}"/>
              </a:ext>
            </a:extLst>
          </p:cNvPr>
          <p:cNvSpPr/>
          <p:nvPr/>
        </p:nvSpPr>
        <p:spPr>
          <a:xfrm>
            <a:off x="504001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6A2C3E-F4EA-4009-9063-AFDD2FA9E400}"/>
              </a:ext>
            </a:extLst>
          </p:cNvPr>
          <p:cNvSpPr/>
          <p:nvPr/>
        </p:nvSpPr>
        <p:spPr>
          <a:xfrm>
            <a:off x="3368279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ABF4C-6FF8-4F3C-89A6-803C4CD0872A}"/>
              </a:ext>
            </a:extLst>
          </p:cNvPr>
          <p:cNvSpPr/>
          <p:nvPr/>
        </p:nvSpPr>
        <p:spPr>
          <a:xfrm>
            <a:off x="6232557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E69E82-A39F-4B1E-A23E-1891A5137E54}"/>
              </a:ext>
            </a:extLst>
          </p:cNvPr>
          <p:cNvSpPr/>
          <p:nvPr/>
        </p:nvSpPr>
        <p:spPr>
          <a:xfrm>
            <a:off x="9096836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four_mediu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1651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01651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11" name="Bildplatzhalt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01651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2" name="Bildplatzhalter 10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1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0"/>
          </p:nvPr>
        </p:nvSpPr>
        <p:spPr>
          <a:xfrm>
            <a:off x="2000251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2"/>
          </p:nvPr>
        </p:nvSpPr>
        <p:spPr>
          <a:xfrm>
            <a:off x="2000251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2000251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000251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4726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504726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B3A83B-0445-46B7-89C9-0C060499FF26}"/>
              </a:ext>
            </a:extLst>
          </p:cNvPr>
          <p:cNvSpPr/>
          <p:nvPr/>
        </p:nvSpPr>
        <p:spPr bwMode="gray">
          <a:xfrm>
            <a:off x="501651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22AA8B2-B09F-4C82-A0D9-0F570305431F}"/>
              </a:ext>
            </a:extLst>
          </p:cNvPr>
          <p:cNvSpPr/>
          <p:nvPr/>
        </p:nvSpPr>
        <p:spPr bwMode="gray">
          <a:xfrm>
            <a:off x="501651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C4C9AE11-06ED-4C3D-B56C-504C3F751E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71302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7430EFE0-C060-431E-BFE3-8FC49E2FE86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71302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6" name="Bildplatzhalter 10">
            <a:extLst>
              <a:ext uri="{FF2B5EF4-FFF2-40B4-BE49-F238E27FC236}">
                <a16:creationId xmlns:a16="http://schemas.microsoft.com/office/drawing/2014/main" id="{EBCCFBCF-57D1-4616-AA59-4481C2573C26}"/>
              </a:ext>
            </a:extLst>
          </p:cNvPr>
          <p:cNvSpPr>
            <a:spLocks noGrp="1" noChangeAspect="1"/>
          </p:cNvSpPr>
          <p:nvPr>
            <p:ph type="pic" sz="quarter" idx="68" hasCustomPrompt="1"/>
          </p:nvPr>
        </p:nvSpPr>
        <p:spPr>
          <a:xfrm>
            <a:off x="6271302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7" name="Bildplatzhalter 10">
            <a:extLst>
              <a:ext uri="{FF2B5EF4-FFF2-40B4-BE49-F238E27FC236}">
                <a16:creationId xmlns:a16="http://schemas.microsoft.com/office/drawing/2014/main" id="{FD309017-D1D5-4882-8C67-CAB0E6BFE539}"/>
              </a:ext>
            </a:extLst>
          </p:cNvPr>
          <p:cNvSpPr>
            <a:spLocks noGrp="1" noChangeAspect="1"/>
          </p:cNvSpPr>
          <p:nvPr>
            <p:ph type="pic" sz="quarter" idx="69" hasCustomPrompt="1"/>
          </p:nvPr>
        </p:nvSpPr>
        <p:spPr>
          <a:xfrm>
            <a:off x="6271302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55D0CA32-C357-45B5-9D7A-36E1438A617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7769902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299E7C2E-C8B4-4AE2-AFD7-7550E02E6F8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769902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ED4F3E7E-FE73-43FC-9570-EC60C236CD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769902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9EED1227-4BE3-4573-9924-4361BDD1EE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769902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FBAD733C-0C6A-45A7-9E55-C4DC61EEF98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74377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6FE1C942-A3A7-4771-8F9B-47E338A1F20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74377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E8EC8E8-14C8-4FAD-A0DE-1D2681EBE0E2}"/>
              </a:ext>
            </a:extLst>
          </p:cNvPr>
          <p:cNvSpPr/>
          <p:nvPr/>
        </p:nvSpPr>
        <p:spPr bwMode="gray">
          <a:xfrm>
            <a:off x="6271302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7078519-9EC9-467E-8ED9-D80ECE64583D}"/>
              </a:ext>
            </a:extLst>
          </p:cNvPr>
          <p:cNvSpPr/>
          <p:nvPr/>
        </p:nvSpPr>
        <p:spPr bwMode="gray">
          <a:xfrm>
            <a:off x="6271302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522C300-F7D9-474B-8873-542EE1D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295E01-0FF5-40DA-AB73-63C0A749A7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63925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six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22C11BE9-381D-4D33-A8AE-680618D532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22C11BE9-381D-4D33-A8AE-680618D53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89A8A6B0-C8D6-4AEE-A3C2-4F3363A3FFC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noProof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3A7527-95AA-40E7-B3B9-E96A085C67F3}"/>
              </a:ext>
            </a:extLst>
          </p:cNvPr>
          <p:cNvSpPr/>
          <p:nvPr/>
        </p:nvSpPr>
        <p:spPr bwMode="gray">
          <a:xfrm>
            <a:off x="501651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4" name="Content Placeholder 46">
            <a:extLst>
              <a:ext uri="{FF2B5EF4-FFF2-40B4-BE49-F238E27FC236}">
                <a16:creationId xmlns:a16="http://schemas.microsoft.com/office/drawing/2014/main" id="{74A8DF90-8910-4668-832F-9552A477B7B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092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03" name="Content Placeholder 102">
            <a:extLst>
              <a:ext uri="{FF2B5EF4-FFF2-40B4-BE49-F238E27FC236}">
                <a16:creationId xmlns:a16="http://schemas.microsoft.com/office/drawing/2014/main" id="{7709949C-3D1F-49F1-8DE8-F8E35CB997A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541723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D24A217-5F84-49BB-B9A6-F02643E74EB7}"/>
              </a:ext>
            </a:extLst>
          </p:cNvPr>
          <p:cNvSpPr/>
          <p:nvPr/>
        </p:nvSpPr>
        <p:spPr>
          <a:xfrm>
            <a:off x="611580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442F4A8-C850-478B-939A-DD67E42CB2F2}"/>
              </a:ext>
            </a:extLst>
          </p:cNvPr>
          <p:cNvSpPr/>
          <p:nvPr/>
        </p:nvSpPr>
        <p:spPr bwMode="gray">
          <a:xfrm>
            <a:off x="501651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4" name="Content Placeholder 46">
            <a:extLst>
              <a:ext uri="{FF2B5EF4-FFF2-40B4-BE49-F238E27FC236}">
                <a16:creationId xmlns:a16="http://schemas.microsoft.com/office/drawing/2014/main" id="{57AC50EA-45B7-4AE1-88E7-4E86216AFF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89092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17" name="Content Placeholder 102">
            <a:extLst>
              <a:ext uri="{FF2B5EF4-FFF2-40B4-BE49-F238E27FC236}">
                <a16:creationId xmlns:a16="http://schemas.microsoft.com/office/drawing/2014/main" id="{8E39DAF7-F396-4C32-ACA8-BCBAA387A531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3541723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C2A5F00-6D9F-437F-8FA9-F0492A55E227}"/>
              </a:ext>
            </a:extLst>
          </p:cNvPr>
          <p:cNvSpPr/>
          <p:nvPr/>
        </p:nvSpPr>
        <p:spPr>
          <a:xfrm>
            <a:off x="611580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AECD162-8D6C-4613-BB71-3B7AE2782AF0}"/>
              </a:ext>
            </a:extLst>
          </p:cNvPr>
          <p:cNvSpPr/>
          <p:nvPr/>
        </p:nvSpPr>
        <p:spPr bwMode="gray">
          <a:xfrm>
            <a:off x="4332000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0" name="Content Placeholder 46">
            <a:extLst>
              <a:ext uri="{FF2B5EF4-FFF2-40B4-BE49-F238E27FC236}">
                <a16:creationId xmlns:a16="http://schemas.microsoft.com/office/drawing/2014/main" id="{20ECD3A6-BA00-4D3E-87CF-B5D331981C12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419441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3" name="Content Placeholder 102">
            <a:extLst>
              <a:ext uri="{FF2B5EF4-FFF2-40B4-BE49-F238E27FC236}">
                <a16:creationId xmlns:a16="http://schemas.microsoft.com/office/drawing/2014/main" id="{099487A5-393D-4EDD-8A87-F4706ED9ECE5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72072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B3221FF-5856-471B-9DED-78FA9692858D}"/>
              </a:ext>
            </a:extLst>
          </p:cNvPr>
          <p:cNvSpPr/>
          <p:nvPr/>
        </p:nvSpPr>
        <p:spPr>
          <a:xfrm>
            <a:off x="4441929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214AB84-B87D-47D5-AF3C-E70CD3731807}"/>
              </a:ext>
            </a:extLst>
          </p:cNvPr>
          <p:cNvSpPr/>
          <p:nvPr/>
        </p:nvSpPr>
        <p:spPr bwMode="gray">
          <a:xfrm>
            <a:off x="4332000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Content Placeholder 46">
            <a:extLst>
              <a:ext uri="{FF2B5EF4-FFF2-40B4-BE49-F238E27FC236}">
                <a16:creationId xmlns:a16="http://schemas.microsoft.com/office/drawing/2014/main" id="{A3FD92AA-817C-4004-93AB-67198D70E0A0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4419441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9" name="Content Placeholder 102">
            <a:extLst>
              <a:ext uri="{FF2B5EF4-FFF2-40B4-BE49-F238E27FC236}">
                <a16:creationId xmlns:a16="http://schemas.microsoft.com/office/drawing/2014/main" id="{EE93C8C8-A153-4787-A64B-C905D15577AA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7372072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39DC3D3-96B8-4768-87D9-275C243C54DA}"/>
              </a:ext>
            </a:extLst>
          </p:cNvPr>
          <p:cNvSpPr/>
          <p:nvPr/>
        </p:nvSpPr>
        <p:spPr>
          <a:xfrm>
            <a:off x="4441929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EDFE37-4EFE-467D-B1E4-94549E8C0360}"/>
              </a:ext>
            </a:extLst>
          </p:cNvPr>
          <p:cNvSpPr/>
          <p:nvPr/>
        </p:nvSpPr>
        <p:spPr bwMode="gray">
          <a:xfrm>
            <a:off x="8171152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2" name="Content Placeholder 46">
            <a:extLst>
              <a:ext uri="{FF2B5EF4-FFF2-40B4-BE49-F238E27FC236}">
                <a16:creationId xmlns:a16="http://schemas.microsoft.com/office/drawing/2014/main" id="{5447ECB7-DD27-4E7F-98E5-9F6A9B5A305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8258593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35" name="Content Placeholder 102">
            <a:extLst>
              <a:ext uri="{FF2B5EF4-FFF2-40B4-BE49-F238E27FC236}">
                <a16:creationId xmlns:a16="http://schemas.microsoft.com/office/drawing/2014/main" id="{58C2E952-68A4-4420-9F53-40FEFA901FA9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11211224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BCB73A5-5A70-41CC-8497-6DCBD6C206F9}"/>
              </a:ext>
            </a:extLst>
          </p:cNvPr>
          <p:cNvSpPr/>
          <p:nvPr/>
        </p:nvSpPr>
        <p:spPr>
          <a:xfrm>
            <a:off x="8281081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101726-726F-4E4C-B379-53345EFA180B}"/>
              </a:ext>
            </a:extLst>
          </p:cNvPr>
          <p:cNvSpPr/>
          <p:nvPr/>
        </p:nvSpPr>
        <p:spPr bwMode="gray">
          <a:xfrm>
            <a:off x="8171152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8" name="Content Placeholder 46">
            <a:extLst>
              <a:ext uri="{FF2B5EF4-FFF2-40B4-BE49-F238E27FC236}">
                <a16:creationId xmlns:a16="http://schemas.microsoft.com/office/drawing/2014/main" id="{D33AC785-D27F-41BC-96AF-5C2A79672E8F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8258593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41" name="Content Placeholder 102">
            <a:extLst>
              <a:ext uri="{FF2B5EF4-FFF2-40B4-BE49-F238E27FC236}">
                <a16:creationId xmlns:a16="http://schemas.microsoft.com/office/drawing/2014/main" id="{EAD2D590-0A57-4BBE-B0A6-D4B4E9C28A5D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1211224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3732BE4-C29A-453E-AE1D-DDD5A5E21FCC}"/>
              </a:ext>
            </a:extLst>
          </p:cNvPr>
          <p:cNvSpPr/>
          <p:nvPr/>
        </p:nvSpPr>
        <p:spPr>
          <a:xfrm>
            <a:off x="8281081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C9597C5-E7EB-41FA-8514-EA91E946222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580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812EB5-FDA0-413B-BABF-9370F417CA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41672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9BCE557-D7BB-460B-ADE2-A071DE9B892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80824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FEE6894-4AED-4D2B-9BFB-0F20B1D839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580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02EF0E9-6D8B-490E-A603-94C6C4F59E5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41672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0A556CC-0260-4898-AB51-BB7F71D5FDC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280824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97A4157-AF8E-40F0-8906-70665CE328D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373708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9FA7CA-37E5-4EFD-B912-C541714DF1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205570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F80E3A-A17C-41B7-850D-2E8034F17F6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44722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40CB5D4-1811-46F2-919B-08E4739F39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373708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882FEF-9945-4E51-8008-6368B8B1952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205570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DB2638-C759-415F-BD3B-6F7CB0A2CEE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044722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5B010C28-7BC2-454F-BD05-B79E118BF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1D0F7F9D-9FA6-425A-AF09-9B642A770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4128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eight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699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0" name="Bildplatzhalter 10"/>
          <p:cNvSpPr>
            <a:spLocks noGrp="1"/>
          </p:cNvSpPr>
          <p:nvPr>
            <p:ph type="pic" sz="quarter" idx="55" hasCustomPrompt="1"/>
          </p:nvPr>
        </p:nvSpPr>
        <p:spPr>
          <a:xfrm>
            <a:off x="4699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56" hasCustomPrompt="1"/>
          </p:nvPr>
        </p:nvSpPr>
        <p:spPr>
          <a:xfrm>
            <a:off x="4699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8" name="Bildplatzhalter 10"/>
          <p:cNvSpPr>
            <a:spLocks noGrp="1"/>
          </p:cNvSpPr>
          <p:nvPr>
            <p:ph type="pic" sz="quarter" idx="57" hasCustomPrompt="1"/>
          </p:nvPr>
        </p:nvSpPr>
        <p:spPr>
          <a:xfrm>
            <a:off x="4699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9" name="Bildplatzhalter 10"/>
          <p:cNvSpPr>
            <a:spLocks noGrp="1"/>
          </p:cNvSpPr>
          <p:nvPr>
            <p:ph type="pic" sz="quarter" idx="58" hasCustomPrompt="1"/>
          </p:nvPr>
        </p:nvSpPr>
        <p:spPr>
          <a:xfrm>
            <a:off x="63221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1" name="Bildplatzhalter 10"/>
          <p:cNvSpPr>
            <a:spLocks noGrp="1"/>
          </p:cNvSpPr>
          <p:nvPr>
            <p:ph type="pic" sz="quarter" idx="59" hasCustomPrompt="1"/>
          </p:nvPr>
        </p:nvSpPr>
        <p:spPr>
          <a:xfrm>
            <a:off x="63221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8" name="Bildplatzhalter 10"/>
          <p:cNvSpPr>
            <a:spLocks noGrp="1"/>
          </p:cNvSpPr>
          <p:nvPr>
            <p:ph type="pic" sz="quarter" idx="60" hasCustomPrompt="1"/>
          </p:nvPr>
        </p:nvSpPr>
        <p:spPr>
          <a:xfrm>
            <a:off x="63221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9" name="Bildplatzhalter 10"/>
          <p:cNvSpPr>
            <a:spLocks noGrp="1"/>
          </p:cNvSpPr>
          <p:nvPr>
            <p:ph type="pic" sz="quarter" idx="61" hasCustomPrompt="1"/>
          </p:nvPr>
        </p:nvSpPr>
        <p:spPr>
          <a:xfrm>
            <a:off x="63221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2"/>
          </p:nvPr>
        </p:nvSpPr>
        <p:spPr>
          <a:xfrm>
            <a:off x="1793775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63"/>
          </p:nvPr>
        </p:nvSpPr>
        <p:spPr>
          <a:xfrm>
            <a:off x="1793775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4"/>
          </p:nvPr>
        </p:nvSpPr>
        <p:spPr>
          <a:xfrm>
            <a:off x="1793775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65"/>
          </p:nvPr>
        </p:nvSpPr>
        <p:spPr>
          <a:xfrm>
            <a:off x="1793775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66"/>
          </p:nvPr>
        </p:nvSpPr>
        <p:spPr>
          <a:xfrm>
            <a:off x="7647537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67"/>
          </p:nvPr>
        </p:nvSpPr>
        <p:spPr>
          <a:xfrm>
            <a:off x="7647537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68"/>
          </p:nvPr>
        </p:nvSpPr>
        <p:spPr>
          <a:xfrm>
            <a:off x="7647537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69"/>
          </p:nvPr>
        </p:nvSpPr>
        <p:spPr>
          <a:xfrm>
            <a:off x="7647537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7B4B2B1-44DD-4C3E-BC0F-DA64BD80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21766DA-0807-4B66-BDE8-AEBAC4FA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64595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101E32-6C7E-4E93-A018-8B801835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740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 </a:t>
            </a:r>
          </a:p>
          <a:p>
            <a:r>
              <a:rPr lang="da-DK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D5CF72-254B-4873-9EBC-70FB215AD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AF491E-D6D4-48F7-8205-2BE2C646945F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128732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70362-7795-48BD-8762-CF3789F0B2C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9EA60-BF4A-4AF1-9F79-4203FB78DDB1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AA72E-058E-44E5-881C-C9D91C836D1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dark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DD891A-D7E2-4B5E-9BDA-62D785EEF92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2685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07" r:id="rId4"/>
    <p:sldLayoutId id="2147483796" r:id="rId5"/>
    <p:sldLayoutId id="2147483797" r:id="rId6"/>
    <p:sldLayoutId id="2147483798" r:id="rId7"/>
    <p:sldLayoutId id="2147483706" r:id="rId8"/>
    <p:sldLayoutId id="2147483804" r:id="rId9"/>
    <p:sldLayoutId id="2147483762" r:id="rId10"/>
    <p:sldLayoutId id="2147483802" r:id="rId11"/>
    <p:sldLayoutId id="2147483799" r:id="rId12"/>
    <p:sldLayoutId id="2147483805" r:id="rId13"/>
    <p:sldLayoutId id="2147483803" r:id="rId14"/>
    <p:sldLayoutId id="2147483800" r:id="rId15"/>
    <p:sldLayoutId id="2147483801" r:id="rId16"/>
    <p:sldLayoutId id="2147483763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1" r:id="rId33"/>
    <p:sldLayoutId id="2147483782" r:id="rId34"/>
    <p:sldLayoutId id="2147483783" r:id="rId35"/>
    <p:sldLayoutId id="2147483784" r:id="rId36"/>
    <p:sldLayoutId id="2147483806" r:id="rId37"/>
    <p:sldLayoutId id="2147483807" r:id="rId38"/>
    <p:sldLayoutId id="2147483808" r:id="rId39"/>
    <p:sldLayoutId id="2147483786" r:id="rId40"/>
    <p:sldLayoutId id="2147483787" r:id="rId41"/>
    <p:sldLayoutId id="2147483788" r:id="rId42"/>
    <p:sldLayoutId id="2147483789" r:id="rId43"/>
  </p:sldLayoutIdLst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296">
          <p15:clr>
            <a:srgbClr val="F26B43"/>
          </p15:clr>
        </p15:guide>
        <p15:guide id="27" pos="7384">
          <p15:clr>
            <a:srgbClr val="F26B43"/>
          </p15:clr>
        </p15:guide>
        <p15:guide id="28" orient="horz" pos="1071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1AEB7-C3EE-4F9C-8F50-F36029BE18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CDE937F-5BC7-42FC-8ACC-F52970D1C4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s-IS" dirty="0"/>
              <a:t>Systems Engineering</a:t>
            </a:r>
            <a:endParaRPr lang="da-DK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F3D28-58E3-44EC-9540-D7E62EF8F0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/>
              <a:t>Microservices from the ground up</a:t>
            </a:r>
            <a:endParaRPr lang="da-DK" dirty="0"/>
          </a:p>
        </p:txBody>
      </p:sp>
      <p:pic>
        <p:nvPicPr>
          <p:cNvPr id="18" name="Picture 15">
            <a:extLst>
              <a:ext uri="{FF2B5EF4-FFF2-40B4-BE49-F238E27FC236}">
                <a16:creationId xmlns:a16="http://schemas.microsoft.com/office/drawing/2014/main" id="{0C02B024-D8F7-495F-B746-405967E93D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5707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162" y="1328311"/>
            <a:ext cx="501967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1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380"/>
          <a:stretch/>
        </p:blipFill>
        <p:spPr>
          <a:xfrm>
            <a:off x="6937374" y="2158205"/>
            <a:ext cx="4038600" cy="304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19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623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DFD3DB-6378-49B0-924A-0C588CD55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374" y="1430336"/>
            <a:ext cx="468630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412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97F0E8F-D514-4706-B78D-FF24D2BB2A97}"/>
              </a:ext>
            </a:extLst>
          </p:cNvPr>
          <p:cNvGrpSpPr/>
          <p:nvPr/>
        </p:nvGrpSpPr>
        <p:grpSpPr>
          <a:xfrm>
            <a:off x="235215" y="287654"/>
            <a:ext cx="6784710" cy="3294163"/>
            <a:chOff x="662485" y="2115950"/>
            <a:chExt cx="6233615" cy="307517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747D0-6D88-41E3-994E-F8DC627FA9A6}"/>
                </a:ext>
              </a:extLst>
            </p:cNvPr>
            <p:cNvSpPr/>
            <p:nvPr/>
          </p:nvSpPr>
          <p:spPr bwMode="gray">
            <a:xfrm>
              <a:off x="662485" y="2131382"/>
              <a:ext cx="6233615" cy="3059743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Kubernetes cluster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9C85CB7B-64C9-4000-A041-CD2FEC430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44939" y="2115950"/>
              <a:ext cx="274712" cy="2667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F39A91E-9AD7-426C-8ACA-C7CC48338889}"/>
              </a:ext>
            </a:extLst>
          </p:cNvPr>
          <p:cNvGrpSpPr/>
          <p:nvPr/>
        </p:nvGrpSpPr>
        <p:grpSpPr>
          <a:xfrm>
            <a:off x="2793474" y="1226181"/>
            <a:ext cx="1787564" cy="1057781"/>
            <a:chOff x="2436774" y="2618869"/>
            <a:chExt cx="1787564" cy="105778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552D86B-CAFF-48AC-A846-394B48243B3C}"/>
                </a:ext>
              </a:extLst>
            </p:cNvPr>
            <p:cNvSpPr/>
            <p:nvPr/>
          </p:nvSpPr>
          <p:spPr bwMode="gray">
            <a:xfrm>
              <a:off x="2436774" y="2618869"/>
              <a:ext cx="1787564" cy="1057781"/>
            </a:xfrm>
            <a:prstGeom prst="rect">
              <a:avLst/>
            </a:prstGeom>
            <a:solidFill>
              <a:schemeClr val="accent3">
                <a:alpha val="4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Service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0A00D2C-5D72-4AD6-840E-631CE8096E73}"/>
                </a:ext>
              </a:extLst>
            </p:cNvPr>
            <p:cNvGrpSpPr/>
            <p:nvPr/>
          </p:nvGrpSpPr>
          <p:grpSpPr>
            <a:xfrm>
              <a:off x="2519651" y="2964151"/>
              <a:ext cx="934997" cy="602962"/>
              <a:chOff x="3800764" y="3197513"/>
              <a:chExt cx="934997" cy="602962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F0BAB5AA-9493-4F42-BED7-9EB2FF54241D}"/>
                  </a:ext>
                </a:extLst>
              </p:cNvPr>
              <p:cNvSpPr/>
              <p:nvPr/>
            </p:nvSpPr>
            <p:spPr bwMode="gray">
              <a:xfrm>
                <a:off x="3902612" y="3197513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endParaRPr lang="da-DK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460A3323-9E7F-42C2-AA95-AE0CAFA1B0D9}"/>
                  </a:ext>
                </a:extLst>
              </p:cNvPr>
              <p:cNvSpPr/>
              <p:nvPr/>
            </p:nvSpPr>
            <p:spPr bwMode="gray">
              <a:xfrm>
                <a:off x="3848389" y="3240376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endParaRPr lang="da-DK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22D0508-E87B-4103-BB96-0147AF028CF7}"/>
                  </a:ext>
                </a:extLst>
              </p:cNvPr>
              <p:cNvSpPr/>
              <p:nvPr/>
            </p:nvSpPr>
            <p:spPr bwMode="gray">
              <a:xfrm>
                <a:off x="3800764" y="3283239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>
                    <a:solidFill>
                      <a:schemeClr val="bg1"/>
                    </a:solidFill>
                  </a:rPr>
                  <a:t>Pod</a:t>
                </a:r>
                <a:endParaRPr lang="da-DK" sz="1600" b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28" name="Picture 27" descr="Icon&#10;&#10;Description automatically generated">
                <a:extLst>
                  <a:ext uri="{FF2B5EF4-FFF2-40B4-BE49-F238E27FC236}">
                    <a16:creationId xmlns:a16="http://schemas.microsoft.com/office/drawing/2014/main" id="{54209226-7A36-42D6-85B7-AB326913E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72984" y="3523927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  <p:pic>
            <p:nvPicPr>
              <p:cNvPr id="29" name="Picture 28" descr="Icon&#10;&#10;Description automatically generated">
                <a:extLst>
                  <a:ext uri="{FF2B5EF4-FFF2-40B4-BE49-F238E27FC236}">
                    <a16:creationId xmlns:a16="http://schemas.microsoft.com/office/drawing/2014/main" id="{5D918C37-8900-496F-BFE2-31491F4381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276436" y="3523927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6703C1B-C76E-4477-A27B-F331069AF4E2}"/>
                </a:ext>
              </a:extLst>
            </p:cNvPr>
            <p:cNvSpPr/>
            <p:nvPr/>
          </p:nvSpPr>
          <p:spPr bwMode="gray">
            <a:xfrm>
              <a:off x="3585150" y="2964151"/>
              <a:ext cx="505917" cy="312448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HPA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sp>
          <p:nvSpPr>
            <p:cNvPr id="24" name="Speech Bubble: Oval 23">
              <a:extLst>
                <a:ext uri="{FF2B5EF4-FFF2-40B4-BE49-F238E27FC236}">
                  <a16:creationId xmlns:a16="http://schemas.microsoft.com/office/drawing/2014/main" id="{E9749ED6-12B5-43E7-9556-B7EA8FE3CCC2}"/>
                </a:ext>
              </a:extLst>
            </p:cNvPr>
            <p:cNvSpPr/>
            <p:nvPr/>
          </p:nvSpPr>
          <p:spPr bwMode="gray">
            <a:xfrm>
              <a:off x="3233738" y="2667000"/>
              <a:ext cx="415004" cy="230477"/>
            </a:xfrm>
            <a:prstGeom prst="wedgeEllipseCallou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900" b="1">
                  <a:solidFill>
                    <a:schemeClr val="bg1"/>
                  </a:solidFill>
                </a:rPr>
                <a:t>elastic</a:t>
              </a:r>
              <a:endParaRPr lang="da-DK" sz="9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F6F6818-A58E-4B4C-9D97-971ADE274577}"/>
              </a:ext>
            </a:extLst>
          </p:cNvPr>
          <p:cNvGrpSpPr/>
          <p:nvPr/>
        </p:nvGrpSpPr>
        <p:grpSpPr>
          <a:xfrm>
            <a:off x="630550" y="2365635"/>
            <a:ext cx="1787564" cy="1057781"/>
            <a:chOff x="2436774" y="2618869"/>
            <a:chExt cx="1787564" cy="105778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0C1CC7D-BD2E-4874-955D-7D151A9FE6F7}"/>
                </a:ext>
              </a:extLst>
            </p:cNvPr>
            <p:cNvSpPr/>
            <p:nvPr/>
          </p:nvSpPr>
          <p:spPr bwMode="gray">
            <a:xfrm>
              <a:off x="2436774" y="2618869"/>
              <a:ext cx="1787564" cy="1057781"/>
            </a:xfrm>
            <a:prstGeom prst="rect">
              <a:avLst/>
            </a:prstGeom>
            <a:solidFill>
              <a:schemeClr val="accent3">
                <a:alpha val="4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Service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2083282-959C-46F3-AFAB-AD9A8BC0C88C}"/>
                </a:ext>
              </a:extLst>
            </p:cNvPr>
            <p:cNvGrpSpPr/>
            <p:nvPr/>
          </p:nvGrpSpPr>
          <p:grpSpPr>
            <a:xfrm>
              <a:off x="2519651" y="2964151"/>
              <a:ext cx="934997" cy="602962"/>
              <a:chOff x="3800764" y="3197513"/>
              <a:chExt cx="934997" cy="602962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B2F0F8C7-34E7-4852-BD1C-9871622E8829}"/>
                  </a:ext>
                </a:extLst>
              </p:cNvPr>
              <p:cNvSpPr/>
              <p:nvPr/>
            </p:nvSpPr>
            <p:spPr bwMode="gray">
              <a:xfrm>
                <a:off x="3902612" y="3197513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endParaRPr lang="da-DK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E0463637-7F3D-4A59-9D4A-E1097276B8B5}"/>
                  </a:ext>
                </a:extLst>
              </p:cNvPr>
              <p:cNvSpPr/>
              <p:nvPr/>
            </p:nvSpPr>
            <p:spPr bwMode="gray">
              <a:xfrm>
                <a:off x="3848389" y="3240376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endParaRPr lang="da-DK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705859A-49B3-4281-8511-FD4B50E192FC}"/>
                  </a:ext>
                </a:extLst>
              </p:cNvPr>
              <p:cNvSpPr/>
              <p:nvPr/>
            </p:nvSpPr>
            <p:spPr bwMode="gray">
              <a:xfrm>
                <a:off x="3800764" y="3283239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>
                    <a:solidFill>
                      <a:schemeClr val="bg1"/>
                    </a:solidFill>
                  </a:rPr>
                  <a:t>Pod</a:t>
                </a:r>
                <a:endParaRPr lang="da-DK" sz="1600" b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38" name="Picture 37" descr="Icon&#10;&#10;Description automatically generated">
                <a:extLst>
                  <a:ext uri="{FF2B5EF4-FFF2-40B4-BE49-F238E27FC236}">
                    <a16:creationId xmlns:a16="http://schemas.microsoft.com/office/drawing/2014/main" id="{97CE57B2-F796-4FCD-A25E-FB1CE92E61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72984" y="3523927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  <p:pic>
            <p:nvPicPr>
              <p:cNvPr id="39" name="Picture 38" descr="Icon&#10;&#10;Description automatically generated">
                <a:extLst>
                  <a:ext uri="{FF2B5EF4-FFF2-40B4-BE49-F238E27FC236}">
                    <a16:creationId xmlns:a16="http://schemas.microsoft.com/office/drawing/2014/main" id="{7DC55E7E-0F38-4981-BF61-DA54908E73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276436" y="3523927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667CD56-9FF7-4BB1-8C88-C8A880A27467}"/>
                </a:ext>
              </a:extLst>
            </p:cNvPr>
            <p:cNvSpPr/>
            <p:nvPr/>
          </p:nvSpPr>
          <p:spPr bwMode="gray">
            <a:xfrm>
              <a:off x="3585150" y="2964151"/>
              <a:ext cx="505917" cy="312448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HPA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sp>
          <p:nvSpPr>
            <p:cNvPr id="34" name="Speech Bubble: Oval 33">
              <a:extLst>
                <a:ext uri="{FF2B5EF4-FFF2-40B4-BE49-F238E27FC236}">
                  <a16:creationId xmlns:a16="http://schemas.microsoft.com/office/drawing/2014/main" id="{CA19F3A9-5F0C-48E7-99B0-3D1942CFBB39}"/>
                </a:ext>
              </a:extLst>
            </p:cNvPr>
            <p:cNvSpPr/>
            <p:nvPr/>
          </p:nvSpPr>
          <p:spPr bwMode="gray">
            <a:xfrm>
              <a:off x="3233738" y="2667000"/>
              <a:ext cx="415004" cy="230477"/>
            </a:xfrm>
            <a:prstGeom prst="wedgeEllipseCallou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900" b="1">
                  <a:solidFill>
                    <a:schemeClr val="bg1"/>
                  </a:solidFill>
                </a:rPr>
                <a:t>elastic</a:t>
              </a:r>
              <a:endParaRPr lang="da-DK" sz="900" b="1">
                <a:solidFill>
                  <a:schemeClr val="bg1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3A49ED5-C8BC-473C-AB5E-FCFC4385B555}"/>
              </a:ext>
            </a:extLst>
          </p:cNvPr>
          <p:cNvSpPr/>
          <p:nvPr/>
        </p:nvSpPr>
        <p:spPr bwMode="gray">
          <a:xfrm>
            <a:off x="5742813" y="1496453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Ingress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0C44099-5AB2-4DE5-B157-2C4D171E4F30}"/>
              </a:ext>
            </a:extLst>
          </p:cNvPr>
          <p:cNvGrpSpPr/>
          <p:nvPr/>
        </p:nvGrpSpPr>
        <p:grpSpPr>
          <a:xfrm>
            <a:off x="4581038" y="1571463"/>
            <a:ext cx="1161775" cy="1382095"/>
            <a:chOff x="4581038" y="1755071"/>
            <a:chExt cx="1161775" cy="1382095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9DC93D6B-43E4-48FD-9D3F-A0CA022271B8}"/>
                </a:ext>
              </a:extLst>
            </p:cNvPr>
            <p:cNvCxnSpPr>
              <a:cxnSpLocks/>
              <a:stCxn id="40" idx="1"/>
              <a:endCxn id="21" idx="3"/>
            </p:cNvCxnSpPr>
            <p:nvPr/>
          </p:nvCxnSpPr>
          <p:spPr>
            <a:xfrm flipH="1">
              <a:off x="4581038" y="1755071"/>
              <a:ext cx="1161775" cy="1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B8AEB67-1061-4673-9F0C-34C690937DFE}"/>
                </a:ext>
              </a:extLst>
            </p:cNvPr>
            <p:cNvSpPr txBox="1"/>
            <p:nvPr/>
          </p:nvSpPr>
          <p:spPr bwMode="gray">
            <a:xfrm>
              <a:off x="4909664" y="2927513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/>
                <a:t>HTTP</a:t>
              </a:r>
              <a:endParaRPr lang="da-DK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3590438" y="2283962"/>
            <a:ext cx="678613" cy="3220054"/>
            <a:chOff x="4354536" y="1187707"/>
            <a:chExt cx="678613" cy="3220054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1" idx="2"/>
              <a:endCxn id="50" idx="0"/>
            </p:cNvCxnSpPr>
            <p:nvPr/>
          </p:nvCxnSpPr>
          <p:spPr>
            <a:xfrm flipH="1">
              <a:off x="4354536" y="1187707"/>
              <a:ext cx="96818" cy="3220054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4442599" y="2979685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3095875" y="5504016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7839403-3B40-4F0E-99B5-CD4ADEBB2B9E}"/>
              </a:ext>
            </a:extLst>
          </p:cNvPr>
          <p:cNvCxnSpPr/>
          <p:nvPr/>
        </p:nvCxnSpPr>
        <p:spPr>
          <a:xfrm>
            <a:off x="142875" y="5381625"/>
            <a:ext cx="111728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A2B0DE2A-60CA-4C22-B0BD-00499A0A30FE}"/>
              </a:ext>
            </a:extLst>
          </p:cNvPr>
          <p:cNvSpPr txBox="1"/>
          <p:nvPr/>
        </p:nvSpPr>
        <p:spPr bwMode="gray">
          <a:xfrm>
            <a:off x="8977975" y="5482575"/>
            <a:ext cx="2275239" cy="9144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s-IS"/>
              <a:t>Azure Managed servic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s-IS"/>
              <a:t>Fault-tolera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s-IS"/>
              <a:t>Elastic</a:t>
            </a:r>
            <a:endParaRPr lang="da-DK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118451" y="2894526"/>
            <a:ext cx="977424" cy="2868108"/>
            <a:chOff x="4644035" y="869285"/>
            <a:chExt cx="977424" cy="2868108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31" idx="3"/>
            </p:cNvCxnSpPr>
            <p:nvPr/>
          </p:nvCxnSpPr>
          <p:spPr>
            <a:xfrm flipH="1" flipV="1">
              <a:off x="4943698" y="869285"/>
              <a:ext cx="677761" cy="2868108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644035" y="2245615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7853110" y="2852504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6575962" y="1755071"/>
            <a:ext cx="1277148" cy="1356051"/>
            <a:chOff x="4027145" y="1271765"/>
            <a:chExt cx="1277148" cy="1356051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40" idx="3"/>
            </p:cNvCxnSpPr>
            <p:nvPr/>
          </p:nvCxnSpPr>
          <p:spPr>
            <a:xfrm flipH="1" flipV="1">
              <a:off x="4027145" y="1271765"/>
              <a:ext cx="1277148" cy="1356051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4713707" y="185954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609B8A0-537D-482B-A39C-24B4D4177CB4}"/>
              </a:ext>
            </a:extLst>
          </p:cNvPr>
          <p:cNvGrpSpPr/>
          <p:nvPr/>
        </p:nvGrpSpPr>
        <p:grpSpPr>
          <a:xfrm>
            <a:off x="7330773" y="281577"/>
            <a:ext cx="1710531" cy="729312"/>
            <a:chOff x="10115594" y="746100"/>
            <a:chExt cx="1710531" cy="729312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53E3C5E-E85B-4853-A7BA-30093643E1FF}"/>
                </a:ext>
              </a:extLst>
            </p:cNvPr>
            <p:cNvSpPr/>
            <p:nvPr/>
          </p:nvSpPr>
          <p:spPr bwMode="gray">
            <a:xfrm>
              <a:off x="10115594" y="958176"/>
              <a:ext cx="1710531" cy="517236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Azure Application Insights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B3DF8C2-4E39-477B-8ACE-DDE9EFF82AE0}"/>
                </a:ext>
              </a:extLst>
            </p:cNvPr>
            <p:cNvSpPr txBox="1"/>
            <p:nvPr/>
          </p:nvSpPr>
          <p:spPr bwMode="gray">
            <a:xfrm>
              <a:off x="10115594" y="746100"/>
              <a:ext cx="1440025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r>
                <a:rPr lang="is-IS" sz="1400"/>
                <a:t>Logging</a:t>
              </a:r>
              <a:endParaRPr lang="da-DK" sz="1400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83C6DEC7-6090-4E0C-B833-2CF241C28C94}"/>
              </a:ext>
            </a:extLst>
          </p:cNvPr>
          <p:cNvSpPr/>
          <p:nvPr/>
        </p:nvSpPr>
        <p:spPr bwMode="gray">
          <a:xfrm>
            <a:off x="5309421" y="459101"/>
            <a:ext cx="1573158" cy="228489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100" b="1">
                <a:solidFill>
                  <a:schemeClr val="bg1"/>
                </a:solidFill>
              </a:rPr>
              <a:t>Kubernetes Dashboard</a:t>
            </a:r>
            <a:endParaRPr lang="da-DK" sz="1100" b="1">
              <a:solidFill>
                <a:schemeClr val="bg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A7D3EE4-1360-4E6D-97AE-905E55B0843D}"/>
              </a:ext>
            </a:extLst>
          </p:cNvPr>
          <p:cNvSpPr/>
          <p:nvPr/>
        </p:nvSpPr>
        <p:spPr bwMode="gray">
          <a:xfrm>
            <a:off x="5309421" y="782998"/>
            <a:ext cx="1573158" cy="228489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100" b="1" dirty="0">
                <a:solidFill>
                  <a:schemeClr val="bg1"/>
                </a:solidFill>
              </a:rPr>
              <a:t>Azure Ingress Controller</a:t>
            </a:r>
            <a:endParaRPr lang="da-DK" sz="1100" b="1" dirty="0">
              <a:solidFill>
                <a:schemeClr val="bg1"/>
              </a:solidFill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93D1ABB-94D5-4356-A854-C4B4D5D25DF9}"/>
              </a:ext>
            </a:extLst>
          </p:cNvPr>
          <p:cNvGrpSpPr/>
          <p:nvPr/>
        </p:nvGrpSpPr>
        <p:grpSpPr>
          <a:xfrm>
            <a:off x="7325131" y="1324312"/>
            <a:ext cx="1710531" cy="729312"/>
            <a:chOff x="10115594" y="746100"/>
            <a:chExt cx="1710531" cy="729312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0BF298B-77D3-4566-AF00-30C09E1AA038}"/>
                </a:ext>
              </a:extLst>
            </p:cNvPr>
            <p:cNvSpPr/>
            <p:nvPr/>
          </p:nvSpPr>
          <p:spPr bwMode="gray">
            <a:xfrm>
              <a:off x="10115594" y="958176"/>
              <a:ext cx="1710531" cy="517236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Azure Container Registry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1540839C-1E39-4811-A27E-762833479A86}"/>
                </a:ext>
              </a:extLst>
            </p:cNvPr>
            <p:cNvSpPr txBox="1"/>
            <p:nvPr/>
          </p:nvSpPr>
          <p:spPr bwMode="gray">
            <a:xfrm>
              <a:off x="10115594" y="746100"/>
              <a:ext cx="1440025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r>
                <a:rPr lang="is-IS" sz="1400"/>
                <a:t>Artifact Repo</a:t>
              </a:r>
              <a:endParaRPr lang="da-DK" sz="1400"/>
            </a:p>
          </p:txBody>
        </p:sp>
      </p:grpSp>
    </p:spTree>
    <p:extLst>
      <p:ext uri="{BB962C8B-B14F-4D97-AF65-F5344CB8AC3E}">
        <p14:creationId xmlns:p14="http://schemas.microsoft.com/office/powerpoint/2010/main" val="2128354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N_az7DFE4P2UQQalM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bjornsson\AppData\Local\Temp\Templafy\PowerPointVsto\Assets\56a6f892ca44b8450c5c7a98_lo.png"/>
</p:tagLst>
</file>

<file path=ppt/theme/theme1.xml><?xml version="1.0" encoding="utf-8"?>
<a:theme xmlns:a="http://schemas.openxmlformats.org/drawingml/2006/main" name="Default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b" anchorCtr="0">
        <a:noAutofit/>
      </a:bodyPr>
      <a:lstStyle>
        <a:defPPr algn="l">
          <a:defRPr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88D2E305-F2AE-4168-9C8C-D78013E06924}" vid="{6FB9D1ED-596C-4446-AAB8-E75BCFF1F9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4</TotalTime>
  <Words>71</Words>
  <Application>Microsoft Office PowerPoint</Application>
  <PresentationFormat>Widescreen</PresentationFormat>
  <Paragraphs>3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Verdana</vt:lpstr>
      <vt:lpstr>Wingdings 2</vt:lpstr>
      <vt:lpstr>Default Theme</vt:lpstr>
      <vt:lpstr>think-cell Slide</vt:lpstr>
      <vt:lpstr>Microservices from the ground up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óhann Björn Björnsson</dc:creator>
  <cp:lastModifiedBy>Jóhann Björn Björnsson</cp:lastModifiedBy>
  <cp:revision>1</cp:revision>
  <dcterms:created xsi:type="dcterms:W3CDTF">2022-05-05T08:26:31Z</dcterms:created>
  <dcterms:modified xsi:type="dcterms:W3CDTF">2022-05-11T15:5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08:26:3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086207-cd18-4759-a8bb-385b8a787648</vt:lpwstr>
  </property>
  <property fmtid="{D5CDD505-2E9C-101B-9397-08002B2CF9AE}" pid="8" name="MSIP_Label_ea60d57e-af5b-4752-ac57-3e4f28ca11dc_ContentBits">
    <vt:lpwstr>0</vt:lpwstr>
  </property>
</Properties>
</file>